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s/slide185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604.xml" ContentType="application/vnd.openxmlformats-officedocument.presentationml.tags+xml"/>
  <Override PartName="/ppt/notesSlides/notesSlide185.xml" ContentType="application/vnd.openxmlformats-officedocument.presentationml.notesSlid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34" r:id="rId18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slide" Target="/ppt/slides/slide185.xml" Id="rId188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89.vml.rels>&#65279;<?xml version="1.0" encoding="utf-8"?><Relationships xmlns="http://schemas.openxmlformats.org/package/2006/relationships"><Relationship Type="http://schemas.openxmlformats.org/officeDocument/2006/relationships/image" Target="/ppt/media/image77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85.xml.rels>&#65279;<?xml version="1.0" encoding="utf-8"?><Relationships xmlns="http://schemas.openxmlformats.org/package/2006/relationships"><Relationship Type="http://schemas.openxmlformats.org/officeDocument/2006/relationships/slide" Target="/ppt/slides/slide185.xml" Id="rId2" /><Relationship Type="http://schemas.openxmlformats.org/officeDocument/2006/relationships/notesMaster" Target="/ppt/notesMasters/notesMaster1.xml" Id="rId1" /></Relationships>
</file>

<file path=ppt/notesSlides/notesSlide1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81884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85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604.xml" Id="rId2" /><Relationship Type="http://schemas.openxmlformats.org/officeDocument/2006/relationships/vmlDrawing" Target="/ppt/drawings/vmlDrawing189.vml" Id="rId1" /><Relationship Type="http://schemas.openxmlformats.org/officeDocument/2006/relationships/image" Target="/ppt/media/image77.emf" Id="rId6" /><Relationship Type="http://schemas.openxmlformats.org/officeDocument/2006/relationships/oleObject" Target="/ppt/embeddings/oleObject189.bin" Id="rId5" /><Relationship Type="http://schemas.openxmlformats.org/officeDocument/2006/relationships/notesSlide" Target="/ppt/notesSlides/notesSlide185.xml" Id="rId4" /></Relationships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50295925-36DB-B36F-38CD-D30BBB153C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B63AA879-72AA-233D-EA60-3240374A78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0859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495" name="think-cell 幻灯片" r:id="rId5" imgW="383" imgH="384" progId="TCLayout.ActiveDocument.1">
                  <p:embed/>
                </p:oleObj>
              </mc:Choice>
              <mc:Fallback>
                <p:oleObj name="think-cell 幻灯片" r:id="rId5" imgW="383" imgH="384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3AA879-72AA-233D-EA60-3240374A78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504F29-4C13-E6FF-4ABC-4A6282E35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Goals I</a:t>
            </a:r>
            <a:endParaRPr lang="en-US"/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72D7B03A-6F4C-9358-0561-CD32EA2F6AE1}"/>
              </a:ext>
            </a:extLst>
          </p:cNvPr>
          <p:cNvSpPr txBox="1">
            <a:spLocks/>
          </p:cNvSpPr>
          <p:nvPr/>
        </p:nvSpPr>
        <p:spPr>
          <a:xfrm>
            <a:off x="799787" y="1557338"/>
            <a:ext cx="11020623" cy="1316357"/>
          </a:xfrm>
          <a:prstGeom prst="rect">
            <a:avLst/>
          </a:prstGeom>
          <a:ln w="6350">
            <a:solidFill>
              <a:schemeClr val="accent5"/>
            </a:solidFill>
          </a:ln>
        </p:spPr>
        <p:txBody>
          <a:bodyPr wrap="square" lIns="684000" tIns="144000" rIns="144000" bIns="1440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sz="2000">
                <a:solidFill>
                  <a:schemeClr val="tx2"/>
                </a:solidFill>
              </a:rPr>
              <a:t>Lorem ipsum dolor sit </a:t>
            </a:r>
            <a:r>
              <a:rPr lang="en-US" sz="2000" err="1">
                <a:solidFill>
                  <a:schemeClr val="tx2"/>
                </a:solidFill>
              </a:rPr>
              <a:t>amet</a:t>
            </a:r>
            <a:r>
              <a:rPr lang="en-US" sz="2000">
                <a:solidFill>
                  <a:schemeClr val="tx2"/>
                </a:solidFill>
              </a:rPr>
              <a:t>, </a:t>
            </a:r>
            <a:r>
              <a:rPr lang="en-US" sz="2000" err="1">
                <a:solidFill>
                  <a:schemeClr val="tx2"/>
                </a:solidFill>
              </a:rPr>
              <a:t>consectetur</a:t>
            </a:r>
            <a:r>
              <a:rPr lang="en-US" sz="2000">
                <a:solidFill>
                  <a:schemeClr val="tx2"/>
                </a:solidFill>
              </a:rPr>
              <a:t> </a:t>
            </a:r>
            <a:r>
              <a:rPr lang="en-US" sz="2000" err="1">
                <a:solidFill>
                  <a:schemeClr val="tx2"/>
                </a:solidFill>
              </a:rPr>
              <a:t>adipiscing</a:t>
            </a:r>
            <a:r>
              <a:rPr lang="en-US" sz="2000">
                <a:solidFill>
                  <a:schemeClr val="tx2"/>
                </a:solidFill>
              </a:rPr>
              <a:t> </a:t>
            </a:r>
            <a:r>
              <a:rPr lang="en-US" sz="2000" err="1">
                <a:solidFill>
                  <a:schemeClr val="tx2"/>
                </a:solidFill>
              </a:rPr>
              <a:t>elit</a:t>
            </a:r>
            <a:r>
              <a:rPr lang="en-US" sz="2000">
                <a:solidFill>
                  <a:schemeClr val="tx2"/>
                </a:solidFill>
              </a:rPr>
              <a:t>, sed do </a:t>
            </a:r>
            <a:r>
              <a:rPr lang="en-US" sz="2000" err="1">
                <a:solidFill>
                  <a:schemeClr val="tx2"/>
                </a:solidFill>
              </a:rPr>
              <a:t>eiusmod</a:t>
            </a:r>
            <a:endParaRPr lang="en-US" sz="2000">
              <a:solidFill>
                <a:schemeClr val="tx2"/>
              </a:solidFill>
            </a:endParaRPr>
          </a:p>
          <a:p>
            <a:pPr marL="180000" indent="-180000"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 marL="180000" indent="-180000"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0C895E35-3297-6DE3-D29A-80E10B3DDECE}"/>
              </a:ext>
            </a:extLst>
          </p:cNvPr>
          <p:cNvSpPr txBox="1">
            <a:spLocks/>
          </p:cNvSpPr>
          <p:nvPr/>
        </p:nvSpPr>
        <p:spPr>
          <a:xfrm>
            <a:off x="799787" y="3149440"/>
            <a:ext cx="11020623" cy="1316357"/>
          </a:xfrm>
          <a:prstGeom prst="rect">
            <a:avLst/>
          </a:prstGeom>
          <a:ln w="6350">
            <a:solidFill>
              <a:schemeClr val="accent5"/>
            </a:solidFill>
          </a:ln>
        </p:spPr>
        <p:txBody>
          <a:bodyPr wrap="square" lIns="684000" tIns="144000" rIns="144000" bIns="1440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sz="2000">
                <a:solidFill>
                  <a:schemeClr val="tx2"/>
                </a:solidFill>
              </a:rPr>
              <a:t>Lorem ipsum dolor sit </a:t>
            </a:r>
            <a:r>
              <a:rPr lang="en-US" sz="2000" err="1">
                <a:solidFill>
                  <a:schemeClr val="tx2"/>
                </a:solidFill>
              </a:rPr>
              <a:t>amet</a:t>
            </a:r>
            <a:r>
              <a:rPr lang="en-US" sz="2000">
                <a:solidFill>
                  <a:schemeClr val="tx2"/>
                </a:solidFill>
              </a:rPr>
              <a:t>, </a:t>
            </a:r>
            <a:r>
              <a:rPr lang="en-US" sz="2000" err="1">
                <a:solidFill>
                  <a:schemeClr val="tx2"/>
                </a:solidFill>
              </a:rPr>
              <a:t>consectetur</a:t>
            </a:r>
            <a:r>
              <a:rPr lang="en-US" sz="2000">
                <a:solidFill>
                  <a:schemeClr val="tx2"/>
                </a:solidFill>
              </a:rPr>
              <a:t> </a:t>
            </a:r>
            <a:r>
              <a:rPr lang="en-US" sz="2000" err="1">
                <a:solidFill>
                  <a:schemeClr val="tx2"/>
                </a:solidFill>
              </a:rPr>
              <a:t>adipiscing</a:t>
            </a:r>
            <a:r>
              <a:rPr lang="en-US" sz="2000">
                <a:solidFill>
                  <a:schemeClr val="tx2"/>
                </a:solidFill>
              </a:rPr>
              <a:t> </a:t>
            </a:r>
            <a:r>
              <a:rPr lang="en-US" sz="2000" err="1">
                <a:solidFill>
                  <a:schemeClr val="tx2"/>
                </a:solidFill>
              </a:rPr>
              <a:t>elit</a:t>
            </a:r>
            <a:r>
              <a:rPr lang="en-US" sz="2000">
                <a:solidFill>
                  <a:schemeClr val="tx2"/>
                </a:solidFill>
              </a:rPr>
              <a:t>, sed do </a:t>
            </a:r>
            <a:r>
              <a:rPr lang="en-US" sz="2000" err="1">
                <a:solidFill>
                  <a:schemeClr val="tx2"/>
                </a:solidFill>
              </a:rPr>
              <a:t>eiusmod</a:t>
            </a:r>
            <a:endParaRPr lang="en-US" sz="2000">
              <a:solidFill>
                <a:schemeClr val="tx2"/>
              </a:solidFill>
            </a:endParaRPr>
          </a:p>
          <a:p>
            <a:pPr marL="180000" indent="-180000"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 marL="180000" indent="-180000"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E5F22092-03FE-FAAB-231D-CD85823ED7D0}"/>
              </a:ext>
            </a:extLst>
          </p:cNvPr>
          <p:cNvSpPr txBox="1">
            <a:spLocks/>
          </p:cNvSpPr>
          <p:nvPr/>
        </p:nvSpPr>
        <p:spPr>
          <a:xfrm>
            <a:off x="799787" y="4741543"/>
            <a:ext cx="11020623" cy="1316357"/>
          </a:xfrm>
          <a:prstGeom prst="rect">
            <a:avLst/>
          </a:prstGeom>
          <a:ln w="6350">
            <a:solidFill>
              <a:schemeClr val="accent5"/>
            </a:solidFill>
          </a:ln>
        </p:spPr>
        <p:txBody>
          <a:bodyPr wrap="square" lIns="684000" tIns="144000" rIns="144000" bIns="1440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sz="2000">
                <a:solidFill>
                  <a:schemeClr val="tx2"/>
                </a:solidFill>
              </a:rPr>
              <a:t>Lorem ipsum dolor sit </a:t>
            </a:r>
            <a:r>
              <a:rPr lang="en-US" sz="2000" err="1">
                <a:solidFill>
                  <a:schemeClr val="tx2"/>
                </a:solidFill>
              </a:rPr>
              <a:t>amet</a:t>
            </a:r>
            <a:r>
              <a:rPr lang="en-US" sz="2000">
                <a:solidFill>
                  <a:schemeClr val="tx2"/>
                </a:solidFill>
              </a:rPr>
              <a:t>, </a:t>
            </a:r>
            <a:r>
              <a:rPr lang="en-US" sz="2000" err="1">
                <a:solidFill>
                  <a:schemeClr val="tx2"/>
                </a:solidFill>
              </a:rPr>
              <a:t>consectetur</a:t>
            </a:r>
            <a:r>
              <a:rPr lang="en-US" sz="2000">
                <a:solidFill>
                  <a:schemeClr val="tx2"/>
                </a:solidFill>
              </a:rPr>
              <a:t> </a:t>
            </a:r>
            <a:r>
              <a:rPr lang="en-US" sz="2000" err="1">
                <a:solidFill>
                  <a:schemeClr val="tx2"/>
                </a:solidFill>
              </a:rPr>
              <a:t>adipiscing</a:t>
            </a:r>
            <a:r>
              <a:rPr lang="en-US" sz="2000">
                <a:solidFill>
                  <a:schemeClr val="tx2"/>
                </a:solidFill>
              </a:rPr>
              <a:t> </a:t>
            </a:r>
            <a:r>
              <a:rPr lang="en-US" sz="2000" err="1">
                <a:solidFill>
                  <a:schemeClr val="tx2"/>
                </a:solidFill>
              </a:rPr>
              <a:t>elit</a:t>
            </a:r>
            <a:r>
              <a:rPr lang="en-US" sz="2000">
                <a:solidFill>
                  <a:schemeClr val="tx2"/>
                </a:solidFill>
              </a:rPr>
              <a:t>, sed do </a:t>
            </a:r>
            <a:r>
              <a:rPr lang="en-US" sz="2000" err="1">
                <a:solidFill>
                  <a:schemeClr val="tx2"/>
                </a:solidFill>
              </a:rPr>
              <a:t>eiusmod</a:t>
            </a:r>
            <a:endParaRPr lang="en-US" sz="2000">
              <a:solidFill>
                <a:schemeClr val="tx2"/>
              </a:solidFill>
            </a:endParaRPr>
          </a:p>
          <a:p>
            <a:pPr marL="180000" indent="-180000"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 marL="180000" indent="-180000"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EFC5C3C-B9DD-54B8-80FF-49B31080D918}"/>
              </a:ext>
            </a:extLst>
          </p:cNvPr>
          <p:cNvSpPr>
            <a:spLocks/>
          </p:cNvSpPr>
          <p:nvPr/>
        </p:nvSpPr>
        <p:spPr>
          <a:xfrm>
            <a:off x="293531" y="1709258"/>
            <a:ext cx="1012515" cy="101251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grpSp>
        <p:nvGrpSpPr>
          <p:cNvPr id="10" name="Grafik 12">
            <a:extLst>
              <a:ext uri="{FF2B5EF4-FFF2-40B4-BE49-F238E27FC236}">
                <a16:creationId xmlns:a16="http://schemas.microsoft.com/office/drawing/2014/main" id="{C2E50F2C-6BF4-CF9B-C5FE-96BDACAE4327}"/>
              </a:ext>
            </a:extLst>
          </p:cNvPr>
          <p:cNvGrpSpPr>
            <a:grpSpLocks/>
          </p:cNvGrpSpPr>
          <p:nvPr/>
        </p:nvGrpSpPr>
        <p:grpSpPr>
          <a:xfrm>
            <a:off x="407581" y="1800450"/>
            <a:ext cx="784415" cy="784412"/>
            <a:chOff x="5733176" y="3048001"/>
            <a:chExt cx="743824" cy="743821"/>
          </a:xfrm>
          <a:solidFill>
            <a:schemeClr val="accent5"/>
          </a:solidFill>
        </p:grpSpPr>
        <p:sp>
          <p:nvSpPr>
            <p:cNvPr id="21" name="Freihandform: Form 16">
              <a:extLst>
                <a:ext uri="{FF2B5EF4-FFF2-40B4-BE49-F238E27FC236}">
                  <a16:creationId xmlns:a16="http://schemas.microsoft.com/office/drawing/2014/main" id="{0FE603CD-18DC-5F10-A1E4-FC5CEFE7B78C}"/>
                </a:ext>
              </a:extLst>
            </p:cNvPr>
            <p:cNvSpPr>
              <a:spLocks/>
            </p:cNvSpPr>
            <p:nvPr/>
          </p:nvSpPr>
          <p:spPr>
            <a:xfrm>
              <a:off x="5733176" y="3095568"/>
              <a:ext cx="696199" cy="696254"/>
            </a:xfrm>
            <a:custGeom>
              <a:avLst/>
              <a:gdLst>
                <a:gd name="connsiteX0" fmla="*/ 625714 w 696199"/>
                <a:gd name="connsiteY0" fmla="*/ 171506 h 696254"/>
                <a:gd name="connsiteX1" fmla="*/ 524749 w 696199"/>
                <a:gd name="connsiteY1" fmla="*/ 625824 h 696254"/>
                <a:gd name="connsiteX2" fmla="*/ 70431 w 696199"/>
                <a:gd name="connsiteY2" fmla="*/ 524859 h 696254"/>
                <a:gd name="connsiteX3" fmla="*/ 171396 w 696199"/>
                <a:gd name="connsiteY3" fmla="*/ 70541 h 696254"/>
                <a:gd name="connsiteX4" fmla="*/ 524749 w 696199"/>
                <a:gd name="connsiteY4" fmla="*/ 70541 h 696254"/>
                <a:gd name="connsiteX5" fmla="*/ 524749 w 696199"/>
                <a:gd name="connsiteY5" fmla="*/ 48195 h 696254"/>
                <a:gd name="connsiteX6" fmla="*/ 48196 w 696199"/>
                <a:gd name="connsiteY6" fmla="*/ 171506 h 696254"/>
                <a:gd name="connsiteX7" fmla="*/ 171506 w 696199"/>
                <a:gd name="connsiteY7" fmla="*/ 648059 h 696254"/>
                <a:gd name="connsiteX8" fmla="*/ 648059 w 696199"/>
                <a:gd name="connsiteY8" fmla="*/ 524748 h 696254"/>
                <a:gd name="connsiteX9" fmla="*/ 648059 w 696199"/>
                <a:gd name="connsiteY9" fmla="*/ 171506 h 696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6199" h="696254">
                  <a:moveTo>
                    <a:pt x="625714" y="171506"/>
                  </a:moveTo>
                  <a:cubicBezTo>
                    <a:pt x="723290" y="324843"/>
                    <a:pt x="678086" y="528249"/>
                    <a:pt x="524749" y="625824"/>
                  </a:cubicBezTo>
                  <a:cubicBezTo>
                    <a:pt x="371411" y="723400"/>
                    <a:pt x="168006" y="678196"/>
                    <a:pt x="70431" y="524859"/>
                  </a:cubicBezTo>
                  <a:cubicBezTo>
                    <a:pt x="-27145" y="371522"/>
                    <a:pt x="18059" y="168117"/>
                    <a:pt x="171396" y="70541"/>
                  </a:cubicBezTo>
                  <a:cubicBezTo>
                    <a:pt x="279192" y="1945"/>
                    <a:pt x="416951" y="1945"/>
                    <a:pt x="524749" y="70541"/>
                  </a:cubicBezTo>
                  <a:lnTo>
                    <a:pt x="524749" y="48195"/>
                  </a:lnTo>
                  <a:cubicBezTo>
                    <a:pt x="359101" y="-49350"/>
                    <a:pt x="145740" y="5859"/>
                    <a:pt x="48196" y="171506"/>
                  </a:cubicBezTo>
                  <a:cubicBezTo>
                    <a:pt x="-49350" y="337153"/>
                    <a:pt x="5858" y="550514"/>
                    <a:pt x="171506" y="648059"/>
                  </a:cubicBezTo>
                  <a:cubicBezTo>
                    <a:pt x="337154" y="745604"/>
                    <a:pt x="550514" y="690397"/>
                    <a:pt x="648059" y="524748"/>
                  </a:cubicBezTo>
                  <a:cubicBezTo>
                    <a:pt x="712246" y="415748"/>
                    <a:pt x="712246" y="280506"/>
                    <a:pt x="648059" y="1715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ihandform: Form 17">
              <a:extLst>
                <a:ext uri="{FF2B5EF4-FFF2-40B4-BE49-F238E27FC236}">
                  <a16:creationId xmlns:a16="http://schemas.microsoft.com/office/drawing/2014/main" id="{046BED3D-1FC8-B2FA-DF2D-B01C185EADD5}"/>
                </a:ext>
              </a:extLst>
            </p:cNvPr>
            <p:cNvSpPr>
              <a:spLocks/>
            </p:cNvSpPr>
            <p:nvPr/>
          </p:nvSpPr>
          <p:spPr>
            <a:xfrm>
              <a:off x="5857152" y="3219431"/>
              <a:ext cx="448398" cy="448416"/>
            </a:xfrm>
            <a:custGeom>
              <a:avLst/>
              <a:gdLst>
                <a:gd name="connsiteX0" fmla="*/ 353481 w 448398"/>
                <a:gd name="connsiteY0" fmla="*/ 41043 h 448416"/>
                <a:gd name="connsiteX1" fmla="*/ 41043 w 448398"/>
                <a:gd name="connsiteY1" fmla="*/ 94935 h 448416"/>
                <a:gd name="connsiteX2" fmla="*/ 94936 w 448398"/>
                <a:gd name="connsiteY2" fmla="*/ 407373 h 448416"/>
                <a:gd name="connsiteX3" fmla="*/ 407374 w 448398"/>
                <a:gd name="connsiteY3" fmla="*/ 353481 h 448416"/>
                <a:gd name="connsiteX4" fmla="*/ 407374 w 448398"/>
                <a:gd name="connsiteY4" fmla="*/ 94935 h 448416"/>
                <a:gd name="connsiteX5" fmla="*/ 393696 w 448398"/>
                <a:gd name="connsiteY5" fmla="*/ 108604 h 448416"/>
                <a:gd name="connsiteX6" fmla="*/ 339813 w 448398"/>
                <a:gd name="connsiteY6" fmla="*/ 393599 h 448416"/>
                <a:gd name="connsiteX7" fmla="*/ 54817 w 448398"/>
                <a:gd name="connsiteY7" fmla="*/ 339716 h 448416"/>
                <a:gd name="connsiteX8" fmla="*/ 108700 w 448398"/>
                <a:gd name="connsiteY8" fmla="*/ 54721 h 448416"/>
                <a:gd name="connsiteX9" fmla="*/ 339813 w 448398"/>
                <a:gd name="connsiteY9" fmla="*/ 54721 h 448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8398" h="448416">
                  <a:moveTo>
                    <a:pt x="353481" y="41043"/>
                  </a:moveTo>
                  <a:cubicBezTo>
                    <a:pt x="252322" y="-30353"/>
                    <a:pt x="112438" y="-6224"/>
                    <a:pt x="41043" y="94935"/>
                  </a:cubicBezTo>
                  <a:cubicBezTo>
                    <a:pt x="-30352" y="196095"/>
                    <a:pt x="-6225" y="335979"/>
                    <a:pt x="94936" y="407373"/>
                  </a:cubicBezTo>
                  <a:cubicBezTo>
                    <a:pt x="196095" y="478769"/>
                    <a:pt x="335978" y="454641"/>
                    <a:pt x="407374" y="353481"/>
                  </a:cubicBezTo>
                  <a:cubicBezTo>
                    <a:pt x="462073" y="275979"/>
                    <a:pt x="462073" y="172438"/>
                    <a:pt x="407374" y="94935"/>
                  </a:cubicBezTo>
                  <a:lnTo>
                    <a:pt x="393696" y="108604"/>
                  </a:lnTo>
                  <a:cubicBezTo>
                    <a:pt x="457516" y="202182"/>
                    <a:pt x="433391" y="329779"/>
                    <a:pt x="339813" y="393599"/>
                  </a:cubicBezTo>
                  <a:cubicBezTo>
                    <a:pt x="246235" y="457419"/>
                    <a:pt x="118638" y="433295"/>
                    <a:pt x="54817" y="339716"/>
                  </a:cubicBezTo>
                  <a:cubicBezTo>
                    <a:pt x="-9002" y="246137"/>
                    <a:pt x="15122" y="118541"/>
                    <a:pt x="108700" y="54721"/>
                  </a:cubicBezTo>
                  <a:cubicBezTo>
                    <a:pt x="178404" y="7183"/>
                    <a:pt x="270109" y="7183"/>
                    <a:pt x="339813" y="547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ihandform: Form 18">
              <a:extLst>
                <a:ext uri="{FF2B5EF4-FFF2-40B4-BE49-F238E27FC236}">
                  <a16:creationId xmlns:a16="http://schemas.microsoft.com/office/drawing/2014/main" id="{3B5A4AD6-2E82-6501-8F58-C8CCE0306305}"/>
                </a:ext>
              </a:extLst>
            </p:cNvPr>
            <p:cNvSpPr>
              <a:spLocks/>
            </p:cNvSpPr>
            <p:nvPr/>
          </p:nvSpPr>
          <p:spPr>
            <a:xfrm>
              <a:off x="5981484" y="3343247"/>
              <a:ext cx="200241" cy="200267"/>
            </a:xfrm>
            <a:custGeom>
              <a:avLst/>
              <a:gdLst>
                <a:gd name="connsiteX0" fmla="*/ 100228 w 200241"/>
                <a:gd name="connsiteY0" fmla="*/ 19077 h 200267"/>
                <a:gd name="connsiteX1" fmla="*/ 123783 w 200241"/>
                <a:gd name="connsiteY1" fmla="*/ 22592 h 200267"/>
                <a:gd name="connsiteX2" fmla="*/ 138652 w 200241"/>
                <a:gd name="connsiteY2" fmla="*/ 7733 h 200267"/>
                <a:gd name="connsiteX3" fmla="*/ 7733 w 200241"/>
                <a:gd name="connsiteY3" fmla="*/ 61616 h 200267"/>
                <a:gd name="connsiteX4" fmla="*/ 61616 w 200241"/>
                <a:gd name="connsiteY4" fmla="*/ 192535 h 200267"/>
                <a:gd name="connsiteX5" fmla="*/ 192535 w 200241"/>
                <a:gd name="connsiteY5" fmla="*/ 138652 h 200267"/>
                <a:gd name="connsiteX6" fmla="*/ 192535 w 200241"/>
                <a:gd name="connsiteY6" fmla="*/ 61616 h 200267"/>
                <a:gd name="connsiteX7" fmla="*/ 177676 w 200241"/>
                <a:gd name="connsiteY7" fmla="*/ 76485 h 200267"/>
                <a:gd name="connsiteX8" fmla="*/ 123771 w 200241"/>
                <a:gd name="connsiteY8" fmla="*/ 177500 h 200267"/>
                <a:gd name="connsiteX9" fmla="*/ 22755 w 200241"/>
                <a:gd name="connsiteY9" fmla="*/ 123595 h 200267"/>
                <a:gd name="connsiteX10" fmla="*/ 76660 w 200241"/>
                <a:gd name="connsiteY10" fmla="*/ 22580 h 200267"/>
                <a:gd name="connsiteX11" fmla="*/ 100228 w 200241"/>
                <a:gd name="connsiteY11" fmla="*/ 19077 h 200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241" h="200267">
                  <a:moveTo>
                    <a:pt x="100228" y="19077"/>
                  </a:moveTo>
                  <a:cubicBezTo>
                    <a:pt x="108210" y="19080"/>
                    <a:pt x="116148" y="20264"/>
                    <a:pt x="123783" y="22592"/>
                  </a:cubicBezTo>
                  <a:lnTo>
                    <a:pt x="138652" y="7733"/>
                  </a:lnTo>
                  <a:cubicBezTo>
                    <a:pt x="87620" y="-13540"/>
                    <a:pt x="29006" y="10584"/>
                    <a:pt x="7733" y="61616"/>
                  </a:cubicBezTo>
                  <a:cubicBezTo>
                    <a:pt x="-13540" y="112648"/>
                    <a:pt x="10584" y="171262"/>
                    <a:pt x="61616" y="192535"/>
                  </a:cubicBezTo>
                  <a:cubicBezTo>
                    <a:pt x="112648" y="213807"/>
                    <a:pt x="171262" y="189683"/>
                    <a:pt x="192535" y="138652"/>
                  </a:cubicBezTo>
                  <a:cubicBezTo>
                    <a:pt x="202810" y="114002"/>
                    <a:pt x="202810" y="86267"/>
                    <a:pt x="192535" y="61616"/>
                  </a:cubicBezTo>
                  <a:lnTo>
                    <a:pt x="177676" y="76485"/>
                  </a:lnTo>
                  <a:cubicBezTo>
                    <a:pt x="190685" y="119264"/>
                    <a:pt x="166551" y="164491"/>
                    <a:pt x="123771" y="177500"/>
                  </a:cubicBezTo>
                  <a:cubicBezTo>
                    <a:pt x="80991" y="190509"/>
                    <a:pt x="35765" y="166375"/>
                    <a:pt x="22755" y="123595"/>
                  </a:cubicBezTo>
                  <a:cubicBezTo>
                    <a:pt x="9746" y="80816"/>
                    <a:pt x="33881" y="35589"/>
                    <a:pt x="76660" y="22580"/>
                  </a:cubicBezTo>
                  <a:cubicBezTo>
                    <a:pt x="84300" y="20257"/>
                    <a:pt x="92242" y="19076"/>
                    <a:pt x="100228" y="19077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ihandform: Form 19">
              <a:extLst>
                <a:ext uri="{FF2B5EF4-FFF2-40B4-BE49-F238E27FC236}">
                  <a16:creationId xmlns:a16="http://schemas.microsoft.com/office/drawing/2014/main" id="{EFE1497E-0A4F-F5FE-04D7-0C1DAACE27AB}"/>
                </a:ext>
              </a:extLst>
            </p:cNvPr>
            <p:cNvSpPr>
              <a:spLocks/>
            </p:cNvSpPr>
            <p:nvPr/>
          </p:nvSpPr>
          <p:spPr>
            <a:xfrm>
              <a:off x="6072070" y="3048001"/>
              <a:ext cx="404931" cy="404927"/>
            </a:xfrm>
            <a:custGeom>
              <a:avLst/>
              <a:gdLst>
                <a:gd name="connsiteX0" fmla="*/ 404206 w 404931"/>
                <a:gd name="connsiteY0" fmla="*/ 91600 h 404927"/>
                <a:gd name="connsiteX1" fmla="*/ 395405 w 404931"/>
                <a:gd name="connsiteY1" fmla="*/ 85723 h 404927"/>
                <a:gd name="connsiteX2" fmla="*/ 319205 w 404931"/>
                <a:gd name="connsiteY2" fmla="*/ 85723 h 404927"/>
                <a:gd name="connsiteX3" fmla="*/ 319205 w 404931"/>
                <a:gd name="connsiteY3" fmla="*/ 9523 h 404927"/>
                <a:gd name="connsiteX4" fmla="*/ 309678 w 404931"/>
                <a:gd name="connsiteY4" fmla="*/ 0 h 404927"/>
                <a:gd name="connsiteX5" fmla="*/ 302946 w 404931"/>
                <a:gd name="connsiteY5" fmla="*/ 2789 h 404927"/>
                <a:gd name="connsiteX6" fmla="*/ 217221 w 404931"/>
                <a:gd name="connsiteY6" fmla="*/ 88514 h 404927"/>
                <a:gd name="connsiteX7" fmla="*/ 214430 w 404931"/>
                <a:gd name="connsiteY7" fmla="*/ 95248 h 404927"/>
                <a:gd name="connsiteX8" fmla="*/ 214430 w 404931"/>
                <a:gd name="connsiteY8" fmla="*/ 177030 h 404927"/>
                <a:gd name="connsiteX9" fmla="*/ 2908 w 404931"/>
                <a:gd name="connsiteY9" fmla="*/ 388551 h 404927"/>
                <a:gd name="connsiteX10" fmla="*/ 2674 w 404931"/>
                <a:gd name="connsiteY10" fmla="*/ 402020 h 404927"/>
                <a:gd name="connsiteX11" fmla="*/ 16142 w 404931"/>
                <a:gd name="connsiteY11" fmla="*/ 402254 h 404927"/>
                <a:gd name="connsiteX12" fmla="*/ 16377 w 404931"/>
                <a:gd name="connsiteY12" fmla="*/ 402020 h 404927"/>
                <a:gd name="connsiteX13" fmla="*/ 227898 w 404931"/>
                <a:gd name="connsiteY13" fmla="*/ 190498 h 404927"/>
                <a:gd name="connsiteX14" fmla="*/ 309680 w 404931"/>
                <a:gd name="connsiteY14" fmla="*/ 190498 h 404927"/>
                <a:gd name="connsiteX15" fmla="*/ 316414 w 404931"/>
                <a:gd name="connsiteY15" fmla="*/ 187707 h 404927"/>
                <a:gd name="connsiteX16" fmla="*/ 402139 w 404931"/>
                <a:gd name="connsiteY16" fmla="*/ 101982 h 404927"/>
                <a:gd name="connsiteX17" fmla="*/ 404206 w 404931"/>
                <a:gd name="connsiteY17" fmla="*/ 91600 h 404927"/>
                <a:gd name="connsiteX18" fmla="*/ 233480 w 404931"/>
                <a:gd name="connsiteY18" fmla="*/ 99191 h 404927"/>
                <a:gd name="connsiteX19" fmla="*/ 299993 w 404931"/>
                <a:gd name="connsiteY19" fmla="*/ 32678 h 404927"/>
                <a:gd name="connsiteX20" fmla="*/ 300155 w 404931"/>
                <a:gd name="connsiteY20" fmla="*/ 32745 h 404927"/>
                <a:gd name="connsiteX21" fmla="*/ 300155 w 404931"/>
                <a:gd name="connsiteY21" fmla="*/ 91305 h 404927"/>
                <a:gd name="connsiteX22" fmla="*/ 233480 w 404931"/>
                <a:gd name="connsiteY22" fmla="*/ 157980 h 404927"/>
                <a:gd name="connsiteX23" fmla="*/ 305737 w 404931"/>
                <a:gd name="connsiteY23" fmla="*/ 171448 h 404927"/>
                <a:gd name="connsiteX24" fmla="*/ 246948 w 404931"/>
                <a:gd name="connsiteY24" fmla="*/ 171448 h 404927"/>
                <a:gd name="connsiteX25" fmla="*/ 313623 w 404931"/>
                <a:gd name="connsiteY25" fmla="*/ 104773 h 404927"/>
                <a:gd name="connsiteX26" fmla="*/ 372183 w 404931"/>
                <a:gd name="connsiteY26" fmla="*/ 104773 h 404927"/>
                <a:gd name="connsiteX27" fmla="*/ 372250 w 404931"/>
                <a:gd name="connsiteY27" fmla="*/ 104935 h 404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04931" h="404927">
                  <a:moveTo>
                    <a:pt x="404206" y="91600"/>
                  </a:moveTo>
                  <a:cubicBezTo>
                    <a:pt x="402731" y="88041"/>
                    <a:pt x="399257" y="85722"/>
                    <a:pt x="395405" y="85723"/>
                  </a:cubicBezTo>
                  <a:lnTo>
                    <a:pt x="319205" y="85723"/>
                  </a:lnTo>
                  <a:lnTo>
                    <a:pt x="319205" y="9523"/>
                  </a:lnTo>
                  <a:cubicBezTo>
                    <a:pt x="319204" y="4262"/>
                    <a:pt x="314939" y="-1"/>
                    <a:pt x="309678" y="0"/>
                  </a:cubicBezTo>
                  <a:cubicBezTo>
                    <a:pt x="307153" y="1"/>
                    <a:pt x="304732" y="1004"/>
                    <a:pt x="302946" y="2789"/>
                  </a:cubicBezTo>
                  <a:lnTo>
                    <a:pt x="217221" y="88514"/>
                  </a:lnTo>
                  <a:cubicBezTo>
                    <a:pt x="215435" y="90300"/>
                    <a:pt x="214431" y="92722"/>
                    <a:pt x="214430" y="95248"/>
                  </a:cubicBezTo>
                  <a:lnTo>
                    <a:pt x="214430" y="177030"/>
                  </a:lnTo>
                  <a:lnTo>
                    <a:pt x="2908" y="388551"/>
                  </a:lnTo>
                  <a:cubicBezTo>
                    <a:pt x="-876" y="392206"/>
                    <a:pt x="-981" y="398235"/>
                    <a:pt x="2674" y="402020"/>
                  </a:cubicBezTo>
                  <a:cubicBezTo>
                    <a:pt x="6329" y="405804"/>
                    <a:pt x="12359" y="405909"/>
                    <a:pt x="16142" y="402254"/>
                  </a:cubicBezTo>
                  <a:cubicBezTo>
                    <a:pt x="16222" y="402177"/>
                    <a:pt x="16300" y="402099"/>
                    <a:pt x="16377" y="402020"/>
                  </a:cubicBezTo>
                  <a:lnTo>
                    <a:pt x="227898" y="190498"/>
                  </a:lnTo>
                  <a:lnTo>
                    <a:pt x="309680" y="190498"/>
                  </a:lnTo>
                  <a:cubicBezTo>
                    <a:pt x="312206" y="190497"/>
                    <a:pt x="314628" y="189494"/>
                    <a:pt x="316414" y="187707"/>
                  </a:cubicBezTo>
                  <a:lnTo>
                    <a:pt x="402139" y="101982"/>
                  </a:lnTo>
                  <a:cubicBezTo>
                    <a:pt x="404865" y="99258"/>
                    <a:pt x="405680" y="95160"/>
                    <a:pt x="404206" y="91600"/>
                  </a:cubicBezTo>
                  <a:close/>
                  <a:moveTo>
                    <a:pt x="233480" y="99191"/>
                  </a:moveTo>
                  <a:lnTo>
                    <a:pt x="299993" y="32678"/>
                  </a:lnTo>
                  <a:cubicBezTo>
                    <a:pt x="300079" y="32593"/>
                    <a:pt x="300155" y="32621"/>
                    <a:pt x="300155" y="32745"/>
                  </a:cubicBezTo>
                  <a:lnTo>
                    <a:pt x="300155" y="91305"/>
                  </a:lnTo>
                  <a:lnTo>
                    <a:pt x="233480" y="157980"/>
                  </a:lnTo>
                  <a:close/>
                  <a:moveTo>
                    <a:pt x="305737" y="171448"/>
                  </a:moveTo>
                  <a:lnTo>
                    <a:pt x="246948" y="171448"/>
                  </a:lnTo>
                  <a:lnTo>
                    <a:pt x="313623" y="104773"/>
                  </a:lnTo>
                  <a:lnTo>
                    <a:pt x="372183" y="104773"/>
                  </a:lnTo>
                  <a:cubicBezTo>
                    <a:pt x="372307" y="104773"/>
                    <a:pt x="372335" y="104849"/>
                    <a:pt x="372250" y="104935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9" name="Rechteck 28">
            <a:extLst>
              <a:ext uri="{FF2B5EF4-FFF2-40B4-BE49-F238E27FC236}">
                <a16:creationId xmlns:a16="http://schemas.microsoft.com/office/drawing/2014/main" id="{F04D2131-B78F-924C-EF9E-13F64E55BEDA}"/>
              </a:ext>
            </a:extLst>
          </p:cNvPr>
          <p:cNvSpPr>
            <a:spLocks/>
          </p:cNvSpPr>
          <p:nvPr/>
        </p:nvSpPr>
        <p:spPr>
          <a:xfrm>
            <a:off x="293531" y="3301360"/>
            <a:ext cx="1012515" cy="101251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grpSp>
        <p:nvGrpSpPr>
          <p:cNvPr id="30" name="Grafik 12">
            <a:extLst>
              <a:ext uri="{FF2B5EF4-FFF2-40B4-BE49-F238E27FC236}">
                <a16:creationId xmlns:a16="http://schemas.microsoft.com/office/drawing/2014/main" id="{82D4DDA4-5A36-4209-4A04-8FC21ADFB5B5}"/>
              </a:ext>
            </a:extLst>
          </p:cNvPr>
          <p:cNvGrpSpPr>
            <a:grpSpLocks/>
          </p:cNvGrpSpPr>
          <p:nvPr/>
        </p:nvGrpSpPr>
        <p:grpSpPr>
          <a:xfrm>
            <a:off x="407581" y="3392552"/>
            <a:ext cx="784415" cy="784412"/>
            <a:chOff x="5733176" y="3048001"/>
            <a:chExt cx="743824" cy="743821"/>
          </a:xfrm>
          <a:solidFill>
            <a:schemeClr val="accent5"/>
          </a:solidFill>
        </p:grpSpPr>
        <p:sp>
          <p:nvSpPr>
            <p:cNvPr id="31" name="Freihandform: Form 16">
              <a:extLst>
                <a:ext uri="{FF2B5EF4-FFF2-40B4-BE49-F238E27FC236}">
                  <a16:creationId xmlns:a16="http://schemas.microsoft.com/office/drawing/2014/main" id="{B3DDAF52-38DD-DEC8-04E8-0AC5B3AF31CE}"/>
                </a:ext>
              </a:extLst>
            </p:cNvPr>
            <p:cNvSpPr>
              <a:spLocks/>
            </p:cNvSpPr>
            <p:nvPr/>
          </p:nvSpPr>
          <p:spPr>
            <a:xfrm>
              <a:off x="5733176" y="3095568"/>
              <a:ext cx="696199" cy="696254"/>
            </a:xfrm>
            <a:custGeom>
              <a:avLst/>
              <a:gdLst>
                <a:gd name="connsiteX0" fmla="*/ 625714 w 696199"/>
                <a:gd name="connsiteY0" fmla="*/ 171506 h 696254"/>
                <a:gd name="connsiteX1" fmla="*/ 524749 w 696199"/>
                <a:gd name="connsiteY1" fmla="*/ 625824 h 696254"/>
                <a:gd name="connsiteX2" fmla="*/ 70431 w 696199"/>
                <a:gd name="connsiteY2" fmla="*/ 524859 h 696254"/>
                <a:gd name="connsiteX3" fmla="*/ 171396 w 696199"/>
                <a:gd name="connsiteY3" fmla="*/ 70541 h 696254"/>
                <a:gd name="connsiteX4" fmla="*/ 524749 w 696199"/>
                <a:gd name="connsiteY4" fmla="*/ 70541 h 696254"/>
                <a:gd name="connsiteX5" fmla="*/ 524749 w 696199"/>
                <a:gd name="connsiteY5" fmla="*/ 48195 h 696254"/>
                <a:gd name="connsiteX6" fmla="*/ 48196 w 696199"/>
                <a:gd name="connsiteY6" fmla="*/ 171506 h 696254"/>
                <a:gd name="connsiteX7" fmla="*/ 171506 w 696199"/>
                <a:gd name="connsiteY7" fmla="*/ 648059 h 696254"/>
                <a:gd name="connsiteX8" fmla="*/ 648059 w 696199"/>
                <a:gd name="connsiteY8" fmla="*/ 524748 h 696254"/>
                <a:gd name="connsiteX9" fmla="*/ 648059 w 696199"/>
                <a:gd name="connsiteY9" fmla="*/ 171506 h 696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6199" h="696254">
                  <a:moveTo>
                    <a:pt x="625714" y="171506"/>
                  </a:moveTo>
                  <a:cubicBezTo>
                    <a:pt x="723290" y="324843"/>
                    <a:pt x="678086" y="528249"/>
                    <a:pt x="524749" y="625824"/>
                  </a:cubicBezTo>
                  <a:cubicBezTo>
                    <a:pt x="371411" y="723400"/>
                    <a:pt x="168006" y="678196"/>
                    <a:pt x="70431" y="524859"/>
                  </a:cubicBezTo>
                  <a:cubicBezTo>
                    <a:pt x="-27145" y="371522"/>
                    <a:pt x="18059" y="168117"/>
                    <a:pt x="171396" y="70541"/>
                  </a:cubicBezTo>
                  <a:cubicBezTo>
                    <a:pt x="279192" y="1945"/>
                    <a:pt x="416951" y="1945"/>
                    <a:pt x="524749" y="70541"/>
                  </a:cubicBezTo>
                  <a:lnTo>
                    <a:pt x="524749" y="48195"/>
                  </a:lnTo>
                  <a:cubicBezTo>
                    <a:pt x="359101" y="-49350"/>
                    <a:pt x="145740" y="5859"/>
                    <a:pt x="48196" y="171506"/>
                  </a:cubicBezTo>
                  <a:cubicBezTo>
                    <a:pt x="-49350" y="337153"/>
                    <a:pt x="5858" y="550514"/>
                    <a:pt x="171506" y="648059"/>
                  </a:cubicBezTo>
                  <a:cubicBezTo>
                    <a:pt x="337154" y="745604"/>
                    <a:pt x="550514" y="690397"/>
                    <a:pt x="648059" y="524748"/>
                  </a:cubicBezTo>
                  <a:cubicBezTo>
                    <a:pt x="712246" y="415748"/>
                    <a:pt x="712246" y="280506"/>
                    <a:pt x="648059" y="1715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ihandform: Form 17">
              <a:extLst>
                <a:ext uri="{FF2B5EF4-FFF2-40B4-BE49-F238E27FC236}">
                  <a16:creationId xmlns:a16="http://schemas.microsoft.com/office/drawing/2014/main" id="{64B331A9-01CE-BEB2-3BFD-7A3A55BB767B}"/>
                </a:ext>
              </a:extLst>
            </p:cNvPr>
            <p:cNvSpPr>
              <a:spLocks/>
            </p:cNvSpPr>
            <p:nvPr/>
          </p:nvSpPr>
          <p:spPr>
            <a:xfrm>
              <a:off x="5857152" y="3219431"/>
              <a:ext cx="448398" cy="448416"/>
            </a:xfrm>
            <a:custGeom>
              <a:avLst/>
              <a:gdLst>
                <a:gd name="connsiteX0" fmla="*/ 353481 w 448398"/>
                <a:gd name="connsiteY0" fmla="*/ 41043 h 448416"/>
                <a:gd name="connsiteX1" fmla="*/ 41043 w 448398"/>
                <a:gd name="connsiteY1" fmla="*/ 94935 h 448416"/>
                <a:gd name="connsiteX2" fmla="*/ 94936 w 448398"/>
                <a:gd name="connsiteY2" fmla="*/ 407373 h 448416"/>
                <a:gd name="connsiteX3" fmla="*/ 407374 w 448398"/>
                <a:gd name="connsiteY3" fmla="*/ 353481 h 448416"/>
                <a:gd name="connsiteX4" fmla="*/ 407374 w 448398"/>
                <a:gd name="connsiteY4" fmla="*/ 94935 h 448416"/>
                <a:gd name="connsiteX5" fmla="*/ 393696 w 448398"/>
                <a:gd name="connsiteY5" fmla="*/ 108604 h 448416"/>
                <a:gd name="connsiteX6" fmla="*/ 339813 w 448398"/>
                <a:gd name="connsiteY6" fmla="*/ 393599 h 448416"/>
                <a:gd name="connsiteX7" fmla="*/ 54817 w 448398"/>
                <a:gd name="connsiteY7" fmla="*/ 339716 h 448416"/>
                <a:gd name="connsiteX8" fmla="*/ 108700 w 448398"/>
                <a:gd name="connsiteY8" fmla="*/ 54721 h 448416"/>
                <a:gd name="connsiteX9" fmla="*/ 339813 w 448398"/>
                <a:gd name="connsiteY9" fmla="*/ 54721 h 448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8398" h="448416">
                  <a:moveTo>
                    <a:pt x="353481" y="41043"/>
                  </a:moveTo>
                  <a:cubicBezTo>
                    <a:pt x="252322" y="-30353"/>
                    <a:pt x="112438" y="-6224"/>
                    <a:pt x="41043" y="94935"/>
                  </a:cubicBezTo>
                  <a:cubicBezTo>
                    <a:pt x="-30352" y="196095"/>
                    <a:pt x="-6225" y="335979"/>
                    <a:pt x="94936" y="407373"/>
                  </a:cubicBezTo>
                  <a:cubicBezTo>
                    <a:pt x="196095" y="478769"/>
                    <a:pt x="335978" y="454641"/>
                    <a:pt x="407374" y="353481"/>
                  </a:cubicBezTo>
                  <a:cubicBezTo>
                    <a:pt x="462073" y="275979"/>
                    <a:pt x="462073" y="172438"/>
                    <a:pt x="407374" y="94935"/>
                  </a:cubicBezTo>
                  <a:lnTo>
                    <a:pt x="393696" y="108604"/>
                  </a:lnTo>
                  <a:cubicBezTo>
                    <a:pt x="457516" y="202182"/>
                    <a:pt x="433391" y="329779"/>
                    <a:pt x="339813" y="393599"/>
                  </a:cubicBezTo>
                  <a:cubicBezTo>
                    <a:pt x="246235" y="457419"/>
                    <a:pt x="118638" y="433295"/>
                    <a:pt x="54817" y="339716"/>
                  </a:cubicBezTo>
                  <a:cubicBezTo>
                    <a:pt x="-9002" y="246137"/>
                    <a:pt x="15122" y="118541"/>
                    <a:pt x="108700" y="54721"/>
                  </a:cubicBezTo>
                  <a:cubicBezTo>
                    <a:pt x="178404" y="7183"/>
                    <a:pt x="270109" y="7183"/>
                    <a:pt x="339813" y="547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ihandform: Form 18">
              <a:extLst>
                <a:ext uri="{FF2B5EF4-FFF2-40B4-BE49-F238E27FC236}">
                  <a16:creationId xmlns:a16="http://schemas.microsoft.com/office/drawing/2014/main" id="{3E43F769-B401-8280-E3FA-B46591289A17}"/>
                </a:ext>
              </a:extLst>
            </p:cNvPr>
            <p:cNvSpPr>
              <a:spLocks/>
            </p:cNvSpPr>
            <p:nvPr/>
          </p:nvSpPr>
          <p:spPr>
            <a:xfrm>
              <a:off x="5981484" y="3343247"/>
              <a:ext cx="200241" cy="200267"/>
            </a:xfrm>
            <a:custGeom>
              <a:avLst/>
              <a:gdLst>
                <a:gd name="connsiteX0" fmla="*/ 100228 w 200241"/>
                <a:gd name="connsiteY0" fmla="*/ 19077 h 200267"/>
                <a:gd name="connsiteX1" fmla="*/ 123783 w 200241"/>
                <a:gd name="connsiteY1" fmla="*/ 22592 h 200267"/>
                <a:gd name="connsiteX2" fmla="*/ 138652 w 200241"/>
                <a:gd name="connsiteY2" fmla="*/ 7733 h 200267"/>
                <a:gd name="connsiteX3" fmla="*/ 7733 w 200241"/>
                <a:gd name="connsiteY3" fmla="*/ 61616 h 200267"/>
                <a:gd name="connsiteX4" fmla="*/ 61616 w 200241"/>
                <a:gd name="connsiteY4" fmla="*/ 192535 h 200267"/>
                <a:gd name="connsiteX5" fmla="*/ 192535 w 200241"/>
                <a:gd name="connsiteY5" fmla="*/ 138652 h 200267"/>
                <a:gd name="connsiteX6" fmla="*/ 192535 w 200241"/>
                <a:gd name="connsiteY6" fmla="*/ 61616 h 200267"/>
                <a:gd name="connsiteX7" fmla="*/ 177676 w 200241"/>
                <a:gd name="connsiteY7" fmla="*/ 76485 h 200267"/>
                <a:gd name="connsiteX8" fmla="*/ 123771 w 200241"/>
                <a:gd name="connsiteY8" fmla="*/ 177500 h 200267"/>
                <a:gd name="connsiteX9" fmla="*/ 22755 w 200241"/>
                <a:gd name="connsiteY9" fmla="*/ 123595 h 200267"/>
                <a:gd name="connsiteX10" fmla="*/ 76660 w 200241"/>
                <a:gd name="connsiteY10" fmla="*/ 22580 h 200267"/>
                <a:gd name="connsiteX11" fmla="*/ 100228 w 200241"/>
                <a:gd name="connsiteY11" fmla="*/ 19077 h 200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241" h="200267">
                  <a:moveTo>
                    <a:pt x="100228" y="19077"/>
                  </a:moveTo>
                  <a:cubicBezTo>
                    <a:pt x="108210" y="19080"/>
                    <a:pt x="116148" y="20264"/>
                    <a:pt x="123783" y="22592"/>
                  </a:cubicBezTo>
                  <a:lnTo>
                    <a:pt x="138652" y="7733"/>
                  </a:lnTo>
                  <a:cubicBezTo>
                    <a:pt x="87620" y="-13540"/>
                    <a:pt x="29006" y="10584"/>
                    <a:pt x="7733" y="61616"/>
                  </a:cubicBezTo>
                  <a:cubicBezTo>
                    <a:pt x="-13540" y="112648"/>
                    <a:pt x="10584" y="171262"/>
                    <a:pt x="61616" y="192535"/>
                  </a:cubicBezTo>
                  <a:cubicBezTo>
                    <a:pt x="112648" y="213807"/>
                    <a:pt x="171262" y="189683"/>
                    <a:pt x="192535" y="138652"/>
                  </a:cubicBezTo>
                  <a:cubicBezTo>
                    <a:pt x="202810" y="114002"/>
                    <a:pt x="202810" y="86267"/>
                    <a:pt x="192535" y="61616"/>
                  </a:cubicBezTo>
                  <a:lnTo>
                    <a:pt x="177676" y="76485"/>
                  </a:lnTo>
                  <a:cubicBezTo>
                    <a:pt x="190685" y="119264"/>
                    <a:pt x="166551" y="164491"/>
                    <a:pt x="123771" y="177500"/>
                  </a:cubicBezTo>
                  <a:cubicBezTo>
                    <a:pt x="80991" y="190509"/>
                    <a:pt x="35765" y="166375"/>
                    <a:pt x="22755" y="123595"/>
                  </a:cubicBezTo>
                  <a:cubicBezTo>
                    <a:pt x="9746" y="80816"/>
                    <a:pt x="33881" y="35589"/>
                    <a:pt x="76660" y="22580"/>
                  </a:cubicBezTo>
                  <a:cubicBezTo>
                    <a:pt x="84300" y="20257"/>
                    <a:pt x="92242" y="19076"/>
                    <a:pt x="100228" y="19077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ihandform: Form 19">
              <a:extLst>
                <a:ext uri="{FF2B5EF4-FFF2-40B4-BE49-F238E27FC236}">
                  <a16:creationId xmlns:a16="http://schemas.microsoft.com/office/drawing/2014/main" id="{6A392DBF-9039-EEF5-A0DE-35EA8EDBCE11}"/>
                </a:ext>
              </a:extLst>
            </p:cNvPr>
            <p:cNvSpPr>
              <a:spLocks/>
            </p:cNvSpPr>
            <p:nvPr/>
          </p:nvSpPr>
          <p:spPr>
            <a:xfrm>
              <a:off x="6072070" y="3048001"/>
              <a:ext cx="404931" cy="404927"/>
            </a:xfrm>
            <a:custGeom>
              <a:avLst/>
              <a:gdLst>
                <a:gd name="connsiteX0" fmla="*/ 404206 w 404931"/>
                <a:gd name="connsiteY0" fmla="*/ 91600 h 404927"/>
                <a:gd name="connsiteX1" fmla="*/ 395405 w 404931"/>
                <a:gd name="connsiteY1" fmla="*/ 85723 h 404927"/>
                <a:gd name="connsiteX2" fmla="*/ 319205 w 404931"/>
                <a:gd name="connsiteY2" fmla="*/ 85723 h 404927"/>
                <a:gd name="connsiteX3" fmla="*/ 319205 w 404931"/>
                <a:gd name="connsiteY3" fmla="*/ 9523 h 404927"/>
                <a:gd name="connsiteX4" fmla="*/ 309678 w 404931"/>
                <a:gd name="connsiteY4" fmla="*/ 0 h 404927"/>
                <a:gd name="connsiteX5" fmla="*/ 302946 w 404931"/>
                <a:gd name="connsiteY5" fmla="*/ 2789 h 404927"/>
                <a:gd name="connsiteX6" fmla="*/ 217221 w 404931"/>
                <a:gd name="connsiteY6" fmla="*/ 88514 h 404927"/>
                <a:gd name="connsiteX7" fmla="*/ 214430 w 404931"/>
                <a:gd name="connsiteY7" fmla="*/ 95248 h 404927"/>
                <a:gd name="connsiteX8" fmla="*/ 214430 w 404931"/>
                <a:gd name="connsiteY8" fmla="*/ 177030 h 404927"/>
                <a:gd name="connsiteX9" fmla="*/ 2908 w 404931"/>
                <a:gd name="connsiteY9" fmla="*/ 388551 h 404927"/>
                <a:gd name="connsiteX10" fmla="*/ 2674 w 404931"/>
                <a:gd name="connsiteY10" fmla="*/ 402020 h 404927"/>
                <a:gd name="connsiteX11" fmla="*/ 16142 w 404931"/>
                <a:gd name="connsiteY11" fmla="*/ 402254 h 404927"/>
                <a:gd name="connsiteX12" fmla="*/ 16377 w 404931"/>
                <a:gd name="connsiteY12" fmla="*/ 402020 h 404927"/>
                <a:gd name="connsiteX13" fmla="*/ 227898 w 404931"/>
                <a:gd name="connsiteY13" fmla="*/ 190498 h 404927"/>
                <a:gd name="connsiteX14" fmla="*/ 309680 w 404931"/>
                <a:gd name="connsiteY14" fmla="*/ 190498 h 404927"/>
                <a:gd name="connsiteX15" fmla="*/ 316414 w 404931"/>
                <a:gd name="connsiteY15" fmla="*/ 187707 h 404927"/>
                <a:gd name="connsiteX16" fmla="*/ 402139 w 404931"/>
                <a:gd name="connsiteY16" fmla="*/ 101982 h 404927"/>
                <a:gd name="connsiteX17" fmla="*/ 404206 w 404931"/>
                <a:gd name="connsiteY17" fmla="*/ 91600 h 404927"/>
                <a:gd name="connsiteX18" fmla="*/ 233480 w 404931"/>
                <a:gd name="connsiteY18" fmla="*/ 99191 h 404927"/>
                <a:gd name="connsiteX19" fmla="*/ 299993 w 404931"/>
                <a:gd name="connsiteY19" fmla="*/ 32678 h 404927"/>
                <a:gd name="connsiteX20" fmla="*/ 300155 w 404931"/>
                <a:gd name="connsiteY20" fmla="*/ 32745 h 404927"/>
                <a:gd name="connsiteX21" fmla="*/ 300155 w 404931"/>
                <a:gd name="connsiteY21" fmla="*/ 91305 h 404927"/>
                <a:gd name="connsiteX22" fmla="*/ 233480 w 404931"/>
                <a:gd name="connsiteY22" fmla="*/ 157980 h 404927"/>
                <a:gd name="connsiteX23" fmla="*/ 305737 w 404931"/>
                <a:gd name="connsiteY23" fmla="*/ 171448 h 404927"/>
                <a:gd name="connsiteX24" fmla="*/ 246948 w 404931"/>
                <a:gd name="connsiteY24" fmla="*/ 171448 h 404927"/>
                <a:gd name="connsiteX25" fmla="*/ 313623 w 404931"/>
                <a:gd name="connsiteY25" fmla="*/ 104773 h 404927"/>
                <a:gd name="connsiteX26" fmla="*/ 372183 w 404931"/>
                <a:gd name="connsiteY26" fmla="*/ 104773 h 404927"/>
                <a:gd name="connsiteX27" fmla="*/ 372250 w 404931"/>
                <a:gd name="connsiteY27" fmla="*/ 104935 h 404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04931" h="404927">
                  <a:moveTo>
                    <a:pt x="404206" y="91600"/>
                  </a:moveTo>
                  <a:cubicBezTo>
                    <a:pt x="402731" y="88041"/>
                    <a:pt x="399257" y="85722"/>
                    <a:pt x="395405" y="85723"/>
                  </a:cubicBezTo>
                  <a:lnTo>
                    <a:pt x="319205" y="85723"/>
                  </a:lnTo>
                  <a:lnTo>
                    <a:pt x="319205" y="9523"/>
                  </a:lnTo>
                  <a:cubicBezTo>
                    <a:pt x="319204" y="4262"/>
                    <a:pt x="314939" y="-1"/>
                    <a:pt x="309678" y="0"/>
                  </a:cubicBezTo>
                  <a:cubicBezTo>
                    <a:pt x="307153" y="1"/>
                    <a:pt x="304732" y="1004"/>
                    <a:pt x="302946" y="2789"/>
                  </a:cubicBezTo>
                  <a:lnTo>
                    <a:pt x="217221" y="88514"/>
                  </a:lnTo>
                  <a:cubicBezTo>
                    <a:pt x="215435" y="90300"/>
                    <a:pt x="214431" y="92722"/>
                    <a:pt x="214430" y="95248"/>
                  </a:cubicBezTo>
                  <a:lnTo>
                    <a:pt x="214430" y="177030"/>
                  </a:lnTo>
                  <a:lnTo>
                    <a:pt x="2908" y="388551"/>
                  </a:lnTo>
                  <a:cubicBezTo>
                    <a:pt x="-876" y="392206"/>
                    <a:pt x="-981" y="398235"/>
                    <a:pt x="2674" y="402020"/>
                  </a:cubicBezTo>
                  <a:cubicBezTo>
                    <a:pt x="6329" y="405804"/>
                    <a:pt x="12359" y="405909"/>
                    <a:pt x="16142" y="402254"/>
                  </a:cubicBezTo>
                  <a:cubicBezTo>
                    <a:pt x="16222" y="402177"/>
                    <a:pt x="16300" y="402099"/>
                    <a:pt x="16377" y="402020"/>
                  </a:cubicBezTo>
                  <a:lnTo>
                    <a:pt x="227898" y="190498"/>
                  </a:lnTo>
                  <a:lnTo>
                    <a:pt x="309680" y="190498"/>
                  </a:lnTo>
                  <a:cubicBezTo>
                    <a:pt x="312206" y="190497"/>
                    <a:pt x="314628" y="189494"/>
                    <a:pt x="316414" y="187707"/>
                  </a:cubicBezTo>
                  <a:lnTo>
                    <a:pt x="402139" y="101982"/>
                  </a:lnTo>
                  <a:cubicBezTo>
                    <a:pt x="404865" y="99258"/>
                    <a:pt x="405680" y="95160"/>
                    <a:pt x="404206" y="91600"/>
                  </a:cubicBezTo>
                  <a:close/>
                  <a:moveTo>
                    <a:pt x="233480" y="99191"/>
                  </a:moveTo>
                  <a:lnTo>
                    <a:pt x="299993" y="32678"/>
                  </a:lnTo>
                  <a:cubicBezTo>
                    <a:pt x="300079" y="32593"/>
                    <a:pt x="300155" y="32621"/>
                    <a:pt x="300155" y="32745"/>
                  </a:cubicBezTo>
                  <a:lnTo>
                    <a:pt x="300155" y="91305"/>
                  </a:lnTo>
                  <a:lnTo>
                    <a:pt x="233480" y="157980"/>
                  </a:lnTo>
                  <a:close/>
                  <a:moveTo>
                    <a:pt x="305737" y="171448"/>
                  </a:moveTo>
                  <a:lnTo>
                    <a:pt x="246948" y="171448"/>
                  </a:lnTo>
                  <a:lnTo>
                    <a:pt x="313623" y="104773"/>
                  </a:lnTo>
                  <a:lnTo>
                    <a:pt x="372183" y="104773"/>
                  </a:lnTo>
                  <a:cubicBezTo>
                    <a:pt x="372307" y="104773"/>
                    <a:pt x="372335" y="104849"/>
                    <a:pt x="372250" y="104935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6" name="Rechteck 35">
            <a:extLst>
              <a:ext uri="{FF2B5EF4-FFF2-40B4-BE49-F238E27FC236}">
                <a16:creationId xmlns:a16="http://schemas.microsoft.com/office/drawing/2014/main" id="{1F5ACD28-272B-29FF-C376-CA16E2AB618E}"/>
              </a:ext>
            </a:extLst>
          </p:cNvPr>
          <p:cNvSpPr>
            <a:spLocks/>
          </p:cNvSpPr>
          <p:nvPr/>
        </p:nvSpPr>
        <p:spPr>
          <a:xfrm>
            <a:off x="293531" y="4893464"/>
            <a:ext cx="1012515" cy="101251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grpSp>
        <p:nvGrpSpPr>
          <p:cNvPr id="37" name="Grafik 12">
            <a:extLst>
              <a:ext uri="{FF2B5EF4-FFF2-40B4-BE49-F238E27FC236}">
                <a16:creationId xmlns:a16="http://schemas.microsoft.com/office/drawing/2014/main" id="{DCB43A4B-9354-972C-F1CB-75EAE3785B1B}"/>
              </a:ext>
            </a:extLst>
          </p:cNvPr>
          <p:cNvGrpSpPr>
            <a:grpSpLocks/>
          </p:cNvGrpSpPr>
          <p:nvPr/>
        </p:nvGrpSpPr>
        <p:grpSpPr>
          <a:xfrm>
            <a:off x="407581" y="4984656"/>
            <a:ext cx="784415" cy="784412"/>
            <a:chOff x="5733176" y="3048001"/>
            <a:chExt cx="743824" cy="743821"/>
          </a:xfrm>
          <a:solidFill>
            <a:schemeClr val="accent5"/>
          </a:solidFill>
        </p:grpSpPr>
        <p:sp>
          <p:nvSpPr>
            <p:cNvPr id="38" name="Freihandform: Form 16">
              <a:extLst>
                <a:ext uri="{FF2B5EF4-FFF2-40B4-BE49-F238E27FC236}">
                  <a16:creationId xmlns:a16="http://schemas.microsoft.com/office/drawing/2014/main" id="{BE319BAA-73A0-11ED-6D2C-9A78FF78208B}"/>
                </a:ext>
              </a:extLst>
            </p:cNvPr>
            <p:cNvSpPr>
              <a:spLocks/>
            </p:cNvSpPr>
            <p:nvPr/>
          </p:nvSpPr>
          <p:spPr>
            <a:xfrm>
              <a:off x="5733176" y="3095568"/>
              <a:ext cx="696199" cy="696254"/>
            </a:xfrm>
            <a:custGeom>
              <a:avLst/>
              <a:gdLst>
                <a:gd name="connsiteX0" fmla="*/ 625714 w 696199"/>
                <a:gd name="connsiteY0" fmla="*/ 171506 h 696254"/>
                <a:gd name="connsiteX1" fmla="*/ 524749 w 696199"/>
                <a:gd name="connsiteY1" fmla="*/ 625824 h 696254"/>
                <a:gd name="connsiteX2" fmla="*/ 70431 w 696199"/>
                <a:gd name="connsiteY2" fmla="*/ 524859 h 696254"/>
                <a:gd name="connsiteX3" fmla="*/ 171396 w 696199"/>
                <a:gd name="connsiteY3" fmla="*/ 70541 h 696254"/>
                <a:gd name="connsiteX4" fmla="*/ 524749 w 696199"/>
                <a:gd name="connsiteY4" fmla="*/ 70541 h 696254"/>
                <a:gd name="connsiteX5" fmla="*/ 524749 w 696199"/>
                <a:gd name="connsiteY5" fmla="*/ 48195 h 696254"/>
                <a:gd name="connsiteX6" fmla="*/ 48196 w 696199"/>
                <a:gd name="connsiteY6" fmla="*/ 171506 h 696254"/>
                <a:gd name="connsiteX7" fmla="*/ 171506 w 696199"/>
                <a:gd name="connsiteY7" fmla="*/ 648059 h 696254"/>
                <a:gd name="connsiteX8" fmla="*/ 648059 w 696199"/>
                <a:gd name="connsiteY8" fmla="*/ 524748 h 696254"/>
                <a:gd name="connsiteX9" fmla="*/ 648059 w 696199"/>
                <a:gd name="connsiteY9" fmla="*/ 171506 h 696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6199" h="696254">
                  <a:moveTo>
                    <a:pt x="625714" y="171506"/>
                  </a:moveTo>
                  <a:cubicBezTo>
                    <a:pt x="723290" y="324843"/>
                    <a:pt x="678086" y="528249"/>
                    <a:pt x="524749" y="625824"/>
                  </a:cubicBezTo>
                  <a:cubicBezTo>
                    <a:pt x="371411" y="723400"/>
                    <a:pt x="168006" y="678196"/>
                    <a:pt x="70431" y="524859"/>
                  </a:cubicBezTo>
                  <a:cubicBezTo>
                    <a:pt x="-27145" y="371522"/>
                    <a:pt x="18059" y="168117"/>
                    <a:pt x="171396" y="70541"/>
                  </a:cubicBezTo>
                  <a:cubicBezTo>
                    <a:pt x="279192" y="1945"/>
                    <a:pt x="416951" y="1945"/>
                    <a:pt x="524749" y="70541"/>
                  </a:cubicBezTo>
                  <a:lnTo>
                    <a:pt x="524749" y="48195"/>
                  </a:lnTo>
                  <a:cubicBezTo>
                    <a:pt x="359101" y="-49350"/>
                    <a:pt x="145740" y="5859"/>
                    <a:pt x="48196" y="171506"/>
                  </a:cubicBezTo>
                  <a:cubicBezTo>
                    <a:pt x="-49350" y="337153"/>
                    <a:pt x="5858" y="550514"/>
                    <a:pt x="171506" y="648059"/>
                  </a:cubicBezTo>
                  <a:cubicBezTo>
                    <a:pt x="337154" y="745604"/>
                    <a:pt x="550514" y="690397"/>
                    <a:pt x="648059" y="524748"/>
                  </a:cubicBezTo>
                  <a:cubicBezTo>
                    <a:pt x="712246" y="415748"/>
                    <a:pt x="712246" y="280506"/>
                    <a:pt x="648059" y="1715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ihandform: Form 17">
              <a:extLst>
                <a:ext uri="{FF2B5EF4-FFF2-40B4-BE49-F238E27FC236}">
                  <a16:creationId xmlns:a16="http://schemas.microsoft.com/office/drawing/2014/main" id="{BE9BA670-E6B8-4CB8-8970-394964D97DD1}"/>
                </a:ext>
              </a:extLst>
            </p:cNvPr>
            <p:cNvSpPr>
              <a:spLocks/>
            </p:cNvSpPr>
            <p:nvPr/>
          </p:nvSpPr>
          <p:spPr>
            <a:xfrm>
              <a:off x="5857152" y="3219431"/>
              <a:ext cx="448398" cy="448416"/>
            </a:xfrm>
            <a:custGeom>
              <a:avLst/>
              <a:gdLst>
                <a:gd name="connsiteX0" fmla="*/ 353481 w 448398"/>
                <a:gd name="connsiteY0" fmla="*/ 41043 h 448416"/>
                <a:gd name="connsiteX1" fmla="*/ 41043 w 448398"/>
                <a:gd name="connsiteY1" fmla="*/ 94935 h 448416"/>
                <a:gd name="connsiteX2" fmla="*/ 94936 w 448398"/>
                <a:gd name="connsiteY2" fmla="*/ 407373 h 448416"/>
                <a:gd name="connsiteX3" fmla="*/ 407374 w 448398"/>
                <a:gd name="connsiteY3" fmla="*/ 353481 h 448416"/>
                <a:gd name="connsiteX4" fmla="*/ 407374 w 448398"/>
                <a:gd name="connsiteY4" fmla="*/ 94935 h 448416"/>
                <a:gd name="connsiteX5" fmla="*/ 393696 w 448398"/>
                <a:gd name="connsiteY5" fmla="*/ 108604 h 448416"/>
                <a:gd name="connsiteX6" fmla="*/ 339813 w 448398"/>
                <a:gd name="connsiteY6" fmla="*/ 393599 h 448416"/>
                <a:gd name="connsiteX7" fmla="*/ 54817 w 448398"/>
                <a:gd name="connsiteY7" fmla="*/ 339716 h 448416"/>
                <a:gd name="connsiteX8" fmla="*/ 108700 w 448398"/>
                <a:gd name="connsiteY8" fmla="*/ 54721 h 448416"/>
                <a:gd name="connsiteX9" fmla="*/ 339813 w 448398"/>
                <a:gd name="connsiteY9" fmla="*/ 54721 h 448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8398" h="448416">
                  <a:moveTo>
                    <a:pt x="353481" y="41043"/>
                  </a:moveTo>
                  <a:cubicBezTo>
                    <a:pt x="252322" y="-30353"/>
                    <a:pt x="112438" y="-6224"/>
                    <a:pt x="41043" y="94935"/>
                  </a:cubicBezTo>
                  <a:cubicBezTo>
                    <a:pt x="-30352" y="196095"/>
                    <a:pt x="-6225" y="335979"/>
                    <a:pt x="94936" y="407373"/>
                  </a:cubicBezTo>
                  <a:cubicBezTo>
                    <a:pt x="196095" y="478769"/>
                    <a:pt x="335978" y="454641"/>
                    <a:pt x="407374" y="353481"/>
                  </a:cubicBezTo>
                  <a:cubicBezTo>
                    <a:pt x="462073" y="275979"/>
                    <a:pt x="462073" y="172438"/>
                    <a:pt x="407374" y="94935"/>
                  </a:cubicBezTo>
                  <a:lnTo>
                    <a:pt x="393696" y="108604"/>
                  </a:lnTo>
                  <a:cubicBezTo>
                    <a:pt x="457516" y="202182"/>
                    <a:pt x="433391" y="329779"/>
                    <a:pt x="339813" y="393599"/>
                  </a:cubicBezTo>
                  <a:cubicBezTo>
                    <a:pt x="246235" y="457419"/>
                    <a:pt x="118638" y="433295"/>
                    <a:pt x="54817" y="339716"/>
                  </a:cubicBezTo>
                  <a:cubicBezTo>
                    <a:pt x="-9002" y="246137"/>
                    <a:pt x="15122" y="118541"/>
                    <a:pt x="108700" y="54721"/>
                  </a:cubicBezTo>
                  <a:cubicBezTo>
                    <a:pt x="178404" y="7183"/>
                    <a:pt x="270109" y="7183"/>
                    <a:pt x="339813" y="547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ihandform: Form 18">
              <a:extLst>
                <a:ext uri="{FF2B5EF4-FFF2-40B4-BE49-F238E27FC236}">
                  <a16:creationId xmlns:a16="http://schemas.microsoft.com/office/drawing/2014/main" id="{B8A426B5-D0BF-ECFF-A4AE-B93FFA7D7161}"/>
                </a:ext>
              </a:extLst>
            </p:cNvPr>
            <p:cNvSpPr>
              <a:spLocks/>
            </p:cNvSpPr>
            <p:nvPr/>
          </p:nvSpPr>
          <p:spPr>
            <a:xfrm>
              <a:off x="5981484" y="3343247"/>
              <a:ext cx="200241" cy="200267"/>
            </a:xfrm>
            <a:custGeom>
              <a:avLst/>
              <a:gdLst>
                <a:gd name="connsiteX0" fmla="*/ 100228 w 200241"/>
                <a:gd name="connsiteY0" fmla="*/ 19077 h 200267"/>
                <a:gd name="connsiteX1" fmla="*/ 123783 w 200241"/>
                <a:gd name="connsiteY1" fmla="*/ 22592 h 200267"/>
                <a:gd name="connsiteX2" fmla="*/ 138652 w 200241"/>
                <a:gd name="connsiteY2" fmla="*/ 7733 h 200267"/>
                <a:gd name="connsiteX3" fmla="*/ 7733 w 200241"/>
                <a:gd name="connsiteY3" fmla="*/ 61616 h 200267"/>
                <a:gd name="connsiteX4" fmla="*/ 61616 w 200241"/>
                <a:gd name="connsiteY4" fmla="*/ 192535 h 200267"/>
                <a:gd name="connsiteX5" fmla="*/ 192535 w 200241"/>
                <a:gd name="connsiteY5" fmla="*/ 138652 h 200267"/>
                <a:gd name="connsiteX6" fmla="*/ 192535 w 200241"/>
                <a:gd name="connsiteY6" fmla="*/ 61616 h 200267"/>
                <a:gd name="connsiteX7" fmla="*/ 177676 w 200241"/>
                <a:gd name="connsiteY7" fmla="*/ 76485 h 200267"/>
                <a:gd name="connsiteX8" fmla="*/ 123771 w 200241"/>
                <a:gd name="connsiteY8" fmla="*/ 177500 h 200267"/>
                <a:gd name="connsiteX9" fmla="*/ 22755 w 200241"/>
                <a:gd name="connsiteY9" fmla="*/ 123595 h 200267"/>
                <a:gd name="connsiteX10" fmla="*/ 76660 w 200241"/>
                <a:gd name="connsiteY10" fmla="*/ 22580 h 200267"/>
                <a:gd name="connsiteX11" fmla="*/ 100228 w 200241"/>
                <a:gd name="connsiteY11" fmla="*/ 19077 h 200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241" h="200267">
                  <a:moveTo>
                    <a:pt x="100228" y="19077"/>
                  </a:moveTo>
                  <a:cubicBezTo>
                    <a:pt x="108210" y="19080"/>
                    <a:pt x="116148" y="20264"/>
                    <a:pt x="123783" y="22592"/>
                  </a:cubicBezTo>
                  <a:lnTo>
                    <a:pt x="138652" y="7733"/>
                  </a:lnTo>
                  <a:cubicBezTo>
                    <a:pt x="87620" y="-13540"/>
                    <a:pt x="29006" y="10584"/>
                    <a:pt x="7733" y="61616"/>
                  </a:cubicBezTo>
                  <a:cubicBezTo>
                    <a:pt x="-13540" y="112648"/>
                    <a:pt x="10584" y="171262"/>
                    <a:pt x="61616" y="192535"/>
                  </a:cubicBezTo>
                  <a:cubicBezTo>
                    <a:pt x="112648" y="213807"/>
                    <a:pt x="171262" y="189683"/>
                    <a:pt x="192535" y="138652"/>
                  </a:cubicBezTo>
                  <a:cubicBezTo>
                    <a:pt x="202810" y="114002"/>
                    <a:pt x="202810" y="86267"/>
                    <a:pt x="192535" y="61616"/>
                  </a:cubicBezTo>
                  <a:lnTo>
                    <a:pt x="177676" y="76485"/>
                  </a:lnTo>
                  <a:cubicBezTo>
                    <a:pt x="190685" y="119264"/>
                    <a:pt x="166551" y="164491"/>
                    <a:pt x="123771" y="177500"/>
                  </a:cubicBezTo>
                  <a:cubicBezTo>
                    <a:pt x="80991" y="190509"/>
                    <a:pt x="35765" y="166375"/>
                    <a:pt x="22755" y="123595"/>
                  </a:cubicBezTo>
                  <a:cubicBezTo>
                    <a:pt x="9746" y="80816"/>
                    <a:pt x="33881" y="35589"/>
                    <a:pt x="76660" y="22580"/>
                  </a:cubicBezTo>
                  <a:cubicBezTo>
                    <a:pt x="84300" y="20257"/>
                    <a:pt x="92242" y="19076"/>
                    <a:pt x="100228" y="19077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ihandform: Form 19">
              <a:extLst>
                <a:ext uri="{FF2B5EF4-FFF2-40B4-BE49-F238E27FC236}">
                  <a16:creationId xmlns:a16="http://schemas.microsoft.com/office/drawing/2014/main" id="{8A7A36AE-7EDC-3377-EE82-66ABB0E595CD}"/>
                </a:ext>
              </a:extLst>
            </p:cNvPr>
            <p:cNvSpPr>
              <a:spLocks/>
            </p:cNvSpPr>
            <p:nvPr/>
          </p:nvSpPr>
          <p:spPr>
            <a:xfrm>
              <a:off x="6072070" y="3048001"/>
              <a:ext cx="404931" cy="404927"/>
            </a:xfrm>
            <a:custGeom>
              <a:avLst/>
              <a:gdLst>
                <a:gd name="connsiteX0" fmla="*/ 404206 w 404931"/>
                <a:gd name="connsiteY0" fmla="*/ 91600 h 404927"/>
                <a:gd name="connsiteX1" fmla="*/ 395405 w 404931"/>
                <a:gd name="connsiteY1" fmla="*/ 85723 h 404927"/>
                <a:gd name="connsiteX2" fmla="*/ 319205 w 404931"/>
                <a:gd name="connsiteY2" fmla="*/ 85723 h 404927"/>
                <a:gd name="connsiteX3" fmla="*/ 319205 w 404931"/>
                <a:gd name="connsiteY3" fmla="*/ 9523 h 404927"/>
                <a:gd name="connsiteX4" fmla="*/ 309678 w 404931"/>
                <a:gd name="connsiteY4" fmla="*/ 0 h 404927"/>
                <a:gd name="connsiteX5" fmla="*/ 302946 w 404931"/>
                <a:gd name="connsiteY5" fmla="*/ 2789 h 404927"/>
                <a:gd name="connsiteX6" fmla="*/ 217221 w 404931"/>
                <a:gd name="connsiteY6" fmla="*/ 88514 h 404927"/>
                <a:gd name="connsiteX7" fmla="*/ 214430 w 404931"/>
                <a:gd name="connsiteY7" fmla="*/ 95248 h 404927"/>
                <a:gd name="connsiteX8" fmla="*/ 214430 w 404931"/>
                <a:gd name="connsiteY8" fmla="*/ 177030 h 404927"/>
                <a:gd name="connsiteX9" fmla="*/ 2908 w 404931"/>
                <a:gd name="connsiteY9" fmla="*/ 388551 h 404927"/>
                <a:gd name="connsiteX10" fmla="*/ 2674 w 404931"/>
                <a:gd name="connsiteY10" fmla="*/ 402020 h 404927"/>
                <a:gd name="connsiteX11" fmla="*/ 16142 w 404931"/>
                <a:gd name="connsiteY11" fmla="*/ 402254 h 404927"/>
                <a:gd name="connsiteX12" fmla="*/ 16377 w 404931"/>
                <a:gd name="connsiteY12" fmla="*/ 402020 h 404927"/>
                <a:gd name="connsiteX13" fmla="*/ 227898 w 404931"/>
                <a:gd name="connsiteY13" fmla="*/ 190498 h 404927"/>
                <a:gd name="connsiteX14" fmla="*/ 309680 w 404931"/>
                <a:gd name="connsiteY14" fmla="*/ 190498 h 404927"/>
                <a:gd name="connsiteX15" fmla="*/ 316414 w 404931"/>
                <a:gd name="connsiteY15" fmla="*/ 187707 h 404927"/>
                <a:gd name="connsiteX16" fmla="*/ 402139 w 404931"/>
                <a:gd name="connsiteY16" fmla="*/ 101982 h 404927"/>
                <a:gd name="connsiteX17" fmla="*/ 404206 w 404931"/>
                <a:gd name="connsiteY17" fmla="*/ 91600 h 404927"/>
                <a:gd name="connsiteX18" fmla="*/ 233480 w 404931"/>
                <a:gd name="connsiteY18" fmla="*/ 99191 h 404927"/>
                <a:gd name="connsiteX19" fmla="*/ 299993 w 404931"/>
                <a:gd name="connsiteY19" fmla="*/ 32678 h 404927"/>
                <a:gd name="connsiteX20" fmla="*/ 300155 w 404931"/>
                <a:gd name="connsiteY20" fmla="*/ 32745 h 404927"/>
                <a:gd name="connsiteX21" fmla="*/ 300155 w 404931"/>
                <a:gd name="connsiteY21" fmla="*/ 91305 h 404927"/>
                <a:gd name="connsiteX22" fmla="*/ 233480 w 404931"/>
                <a:gd name="connsiteY22" fmla="*/ 157980 h 404927"/>
                <a:gd name="connsiteX23" fmla="*/ 305737 w 404931"/>
                <a:gd name="connsiteY23" fmla="*/ 171448 h 404927"/>
                <a:gd name="connsiteX24" fmla="*/ 246948 w 404931"/>
                <a:gd name="connsiteY24" fmla="*/ 171448 h 404927"/>
                <a:gd name="connsiteX25" fmla="*/ 313623 w 404931"/>
                <a:gd name="connsiteY25" fmla="*/ 104773 h 404927"/>
                <a:gd name="connsiteX26" fmla="*/ 372183 w 404931"/>
                <a:gd name="connsiteY26" fmla="*/ 104773 h 404927"/>
                <a:gd name="connsiteX27" fmla="*/ 372250 w 404931"/>
                <a:gd name="connsiteY27" fmla="*/ 104935 h 404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04931" h="404927">
                  <a:moveTo>
                    <a:pt x="404206" y="91600"/>
                  </a:moveTo>
                  <a:cubicBezTo>
                    <a:pt x="402731" y="88041"/>
                    <a:pt x="399257" y="85722"/>
                    <a:pt x="395405" y="85723"/>
                  </a:cubicBezTo>
                  <a:lnTo>
                    <a:pt x="319205" y="85723"/>
                  </a:lnTo>
                  <a:lnTo>
                    <a:pt x="319205" y="9523"/>
                  </a:lnTo>
                  <a:cubicBezTo>
                    <a:pt x="319204" y="4262"/>
                    <a:pt x="314939" y="-1"/>
                    <a:pt x="309678" y="0"/>
                  </a:cubicBezTo>
                  <a:cubicBezTo>
                    <a:pt x="307153" y="1"/>
                    <a:pt x="304732" y="1004"/>
                    <a:pt x="302946" y="2789"/>
                  </a:cubicBezTo>
                  <a:lnTo>
                    <a:pt x="217221" y="88514"/>
                  </a:lnTo>
                  <a:cubicBezTo>
                    <a:pt x="215435" y="90300"/>
                    <a:pt x="214431" y="92722"/>
                    <a:pt x="214430" y="95248"/>
                  </a:cubicBezTo>
                  <a:lnTo>
                    <a:pt x="214430" y="177030"/>
                  </a:lnTo>
                  <a:lnTo>
                    <a:pt x="2908" y="388551"/>
                  </a:lnTo>
                  <a:cubicBezTo>
                    <a:pt x="-876" y="392206"/>
                    <a:pt x="-981" y="398235"/>
                    <a:pt x="2674" y="402020"/>
                  </a:cubicBezTo>
                  <a:cubicBezTo>
                    <a:pt x="6329" y="405804"/>
                    <a:pt x="12359" y="405909"/>
                    <a:pt x="16142" y="402254"/>
                  </a:cubicBezTo>
                  <a:cubicBezTo>
                    <a:pt x="16222" y="402177"/>
                    <a:pt x="16300" y="402099"/>
                    <a:pt x="16377" y="402020"/>
                  </a:cubicBezTo>
                  <a:lnTo>
                    <a:pt x="227898" y="190498"/>
                  </a:lnTo>
                  <a:lnTo>
                    <a:pt x="309680" y="190498"/>
                  </a:lnTo>
                  <a:cubicBezTo>
                    <a:pt x="312206" y="190497"/>
                    <a:pt x="314628" y="189494"/>
                    <a:pt x="316414" y="187707"/>
                  </a:cubicBezTo>
                  <a:lnTo>
                    <a:pt x="402139" y="101982"/>
                  </a:lnTo>
                  <a:cubicBezTo>
                    <a:pt x="404865" y="99258"/>
                    <a:pt x="405680" y="95160"/>
                    <a:pt x="404206" y="91600"/>
                  </a:cubicBezTo>
                  <a:close/>
                  <a:moveTo>
                    <a:pt x="233480" y="99191"/>
                  </a:moveTo>
                  <a:lnTo>
                    <a:pt x="299993" y="32678"/>
                  </a:lnTo>
                  <a:cubicBezTo>
                    <a:pt x="300079" y="32593"/>
                    <a:pt x="300155" y="32621"/>
                    <a:pt x="300155" y="32745"/>
                  </a:cubicBezTo>
                  <a:lnTo>
                    <a:pt x="300155" y="91305"/>
                  </a:lnTo>
                  <a:lnTo>
                    <a:pt x="233480" y="157980"/>
                  </a:lnTo>
                  <a:close/>
                  <a:moveTo>
                    <a:pt x="305737" y="171448"/>
                  </a:moveTo>
                  <a:lnTo>
                    <a:pt x="246948" y="171448"/>
                  </a:lnTo>
                  <a:lnTo>
                    <a:pt x="313623" y="104773"/>
                  </a:lnTo>
                  <a:lnTo>
                    <a:pt x="372183" y="104773"/>
                  </a:lnTo>
                  <a:cubicBezTo>
                    <a:pt x="372307" y="104773"/>
                    <a:pt x="372335" y="104849"/>
                    <a:pt x="372250" y="104935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9053BA86-3149-8B3B-8999-6FD26511523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08390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goal, objective, objectives</a:t>
            </a:r>
          </a:p>
        </p:txBody>
      </p:sp>
    </p:spTree>
    <p:extLst>
      <p:ext uri="{BB962C8B-B14F-4D97-AF65-F5344CB8AC3E}">
        <p14:creationId xmlns:p14="http://schemas.microsoft.com/office/powerpoint/2010/main" val="41954480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